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96" y="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4F6EF3-6013-44DC-9E99-B47492058C36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F79482-B1D1-4760-AF0E-7D589315922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284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73837" cy="3698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612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73837" cy="3698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2419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32588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2734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9509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79874" y="6453467"/>
            <a:ext cx="11430785" cy="404534"/>
          </a:xfrm>
          <a:prstGeom prst="rect">
            <a:avLst/>
          </a:prstGeom>
          <a:solidFill>
            <a:srgbClr val="0238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8B46342D-227E-4E32-97B5-2D005F9F4DAF}"/>
              </a:ext>
            </a:extLst>
          </p:cNvPr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068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5007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4432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1533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729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8129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2304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7008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9203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373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8463" y="102850"/>
            <a:ext cx="86804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200" b="1" dirty="0" err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2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sz="22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0" name="Text Box 6">
            <a:extLst/>
          </p:cNvPr>
          <p:cNvSpPr txBox="1">
            <a:spLocks noChangeArrowheads="1"/>
          </p:cNvSpPr>
          <p:nvPr/>
        </p:nvSpPr>
        <p:spPr bwMode="auto">
          <a:xfrm>
            <a:off x="407988" y="4460587"/>
            <a:ext cx="1651687" cy="241168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4000" tIns="36000" rIns="54000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itchFamily="2" charset="2"/>
              <a:buNone/>
              <a:defRPr kumimoji="1" sz="1400" b="1">
                <a:solidFill>
                  <a:srgbClr val="FFFFFF"/>
                </a:solidFill>
                <a:latin typeface="宋体" charset="-122"/>
              </a:defRPr>
            </a:lvl1pPr>
          </a:lstStyle>
          <a:p>
            <a:pPr>
              <a:spcBef>
                <a:spcPct val="0"/>
              </a:spcBef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1" name="矩形 30">
            <a:extLst/>
          </p:cNvPr>
          <p:cNvSpPr/>
          <p:nvPr/>
        </p:nvSpPr>
        <p:spPr>
          <a:xfrm>
            <a:off x="398461" y="4747104"/>
            <a:ext cx="11359529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2" name="矩形 31">
            <a:extLst/>
          </p:cNvPr>
          <p:cNvSpPr/>
          <p:nvPr/>
        </p:nvSpPr>
        <p:spPr>
          <a:xfrm>
            <a:off x="407988" y="6145946"/>
            <a:ext cx="11350002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3" name="矩形 32">
            <a:extLst/>
          </p:cNvPr>
          <p:cNvSpPr/>
          <p:nvPr/>
        </p:nvSpPr>
        <p:spPr>
          <a:xfrm>
            <a:off x="407988" y="5446525"/>
            <a:ext cx="11350002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4" name="矩形 33">
            <a:extLst/>
          </p:cNvPr>
          <p:cNvSpPr/>
          <p:nvPr/>
        </p:nvSpPr>
        <p:spPr>
          <a:xfrm>
            <a:off x="398462" y="980938"/>
            <a:ext cx="5823433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5" name="矩形 34">
            <a:extLst/>
          </p:cNvPr>
          <p:cNvSpPr/>
          <p:nvPr/>
        </p:nvSpPr>
        <p:spPr>
          <a:xfrm>
            <a:off x="6613525" y="1003500"/>
            <a:ext cx="5144466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6" name="矩形 5"/>
          <p:cNvSpPr>
            <a:spLocks noChangeArrowheads="1"/>
          </p:cNvSpPr>
          <p:nvPr/>
        </p:nvSpPr>
        <p:spPr bwMode="auto">
          <a:xfrm>
            <a:off x="333375" y="657088"/>
            <a:ext cx="14221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7281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9"/>
          <p:cNvSpPr txBox="1"/>
          <p:nvPr/>
        </p:nvSpPr>
        <p:spPr>
          <a:xfrm>
            <a:off x="623888" y="1406794"/>
            <a:ext cx="11203677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8" name="TextBox 103">
            <a:extLst/>
          </p:cNvPr>
          <p:cNvSpPr txBox="1">
            <a:spLocks noChangeArrowheads="1"/>
          </p:cNvSpPr>
          <p:nvPr/>
        </p:nvSpPr>
        <p:spPr bwMode="auto">
          <a:xfrm>
            <a:off x="623888" y="2543175"/>
            <a:ext cx="11203677" cy="3136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r>
              <a:rPr lang="en-US" altLang="zh-CN" sz="1800" dirty="0" err="1"/>
              <a:t>Asdjflkjdsakf</a:t>
            </a:r>
            <a:r>
              <a:rPr lang="en-US" altLang="zh-CN" sz="1800" dirty="0"/>
              <a:t> </a:t>
            </a: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635848" y="913232"/>
            <a:ext cx="1080120" cy="310679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  <a:p>
            <a:pPr algn="l" defTabSz="914608">
              <a:defRPr/>
            </a:pPr>
            <a:r>
              <a:rPr lang="zh-CN" altLang="en-US" sz="1800" kern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性</a:t>
            </a:r>
            <a:endParaRPr lang="zh-CN" altLang="en-US" sz="1800" kern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635848" y="2087850"/>
            <a:ext cx="1080120" cy="310679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>
              <a:spcBef>
                <a:spcPct val="0"/>
              </a:spcBef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11" name="Text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8463" y="102850"/>
            <a:ext cx="86804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22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22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9373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0uAOm5n0KwY1CL9jf6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0uAOm5n0KwY1CL9jf60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16</Words>
  <Application>Microsoft Office PowerPoint</Application>
  <PresentationFormat>宽屏</PresentationFormat>
  <Paragraphs>16</Paragraphs>
  <Slides>2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9" baseType="lpstr">
      <vt:lpstr>华文楷体</vt:lpstr>
      <vt:lpstr>宋体</vt:lpstr>
      <vt:lpstr>Arial</vt:lpstr>
      <vt:lpstr>Calibri</vt:lpstr>
      <vt:lpstr>Calibri Light</vt:lpstr>
      <vt:lpstr>Wingdings</vt:lpstr>
      <vt:lpstr>Office 主题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胡丹</dc:creator>
  <cp:lastModifiedBy>Yuan Jie</cp:lastModifiedBy>
  <cp:revision>9</cp:revision>
  <dcterms:created xsi:type="dcterms:W3CDTF">2019-12-08T10:05:14Z</dcterms:created>
  <dcterms:modified xsi:type="dcterms:W3CDTF">2020-02-21T14:15:09Z</dcterms:modified>
</cp:coreProperties>
</file>